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notesMasterIdLst>
    <p:notesMasterId r:id="rId3"/>
  </p:notesMasterIdLst>
  <p:handoutMasterIdLst>
    <p:handoutMasterId r:id="rId4"/>
  </p:handoutMasterIdLst>
  <p:sldIdLst>
    <p:sldId id="2147374975" r:id="rId2"/>
  </p:sldIdLst>
  <p:sldSz cx="12192000" cy="6858000"/>
  <p:notesSz cx="9601200" cy="73152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ción predeterminada" id="{71E068F0-165A-4F5A-B51F-533520C75752}">
          <p14:sldIdLst>
            <p14:sldId id="214737497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3451E24-C82D-4BEC-AD4B-9EDC47044983}" v="3" dt="2024-01-29T19:57:04.62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162" autoAdjust="0"/>
    <p:restoredTop sz="74563" autoAdjust="0"/>
  </p:normalViewPr>
  <p:slideViewPr>
    <p:cSldViewPr snapToGrid="0">
      <p:cViewPr varScale="1">
        <p:scale>
          <a:sx n="78" d="100"/>
          <a:sy n="78" d="100"/>
        </p:scale>
        <p:origin x="288" y="6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69" d="100"/>
          <a:sy n="69" d="100"/>
        </p:scale>
        <p:origin x="1986" y="6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10" Type="http://schemas.microsoft.com/office/2015/10/relationships/revisionInfo" Target="revisionInfo.xml"/><Relationship Id="rId4" Type="http://schemas.openxmlformats.org/officeDocument/2006/relationships/handoutMaster" Target="handoutMasters/handoutMaster1.xml"/><Relationship Id="rId9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dres rendo sanchez" userId="1d3ea28edc38020e" providerId="LiveId" clId="{E3451E24-C82D-4BEC-AD4B-9EDC47044983}"/>
    <pc:docChg chg="undo custSel addSld delSld modSld modSection">
      <pc:chgData name="andres rendo sanchez" userId="1d3ea28edc38020e" providerId="LiveId" clId="{E3451E24-C82D-4BEC-AD4B-9EDC47044983}" dt="2024-01-29T20:02:50.771" v="434" actId="26606"/>
      <pc:docMkLst>
        <pc:docMk/>
      </pc:docMkLst>
      <pc:sldChg chg="del">
        <pc:chgData name="andres rendo sanchez" userId="1d3ea28edc38020e" providerId="LiveId" clId="{E3451E24-C82D-4BEC-AD4B-9EDC47044983}" dt="2024-01-29T19:56:06.832" v="0" actId="47"/>
        <pc:sldMkLst>
          <pc:docMk/>
          <pc:sldMk cId="1463238368" sldId="2147374727"/>
        </pc:sldMkLst>
      </pc:sldChg>
      <pc:sldChg chg="del">
        <pc:chgData name="andres rendo sanchez" userId="1d3ea28edc38020e" providerId="LiveId" clId="{E3451E24-C82D-4BEC-AD4B-9EDC47044983}" dt="2024-01-29T19:56:06.832" v="0" actId="47"/>
        <pc:sldMkLst>
          <pc:docMk/>
          <pc:sldMk cId="2297903958" sldId="2147374961"/>
        </pc:sldMkLst>
      </pc:sldChg>
      <pc:sldChg chg="del">
        <pc:chgData name="andres rendo sanchez" userId="1d3ea28edc38020e" providerId="LiveId" clId="{E3451E24-C82D-4BEC-AD4B-9EDC47044983}" dt="2024-01-29T19:56:06.832" v="0" actId="47"/>
        <pc:sldMkLst>
          <pc:docMk/>
          <pc:sldMk cId="301463125" sldId="2147374963"/>
        </pc:sldMkLst>
      </pc:sldChg>
      <pc:sldChg chg="modSp del mod">
        <pc:chgData name="andres rendo sanchez" userId="1d3ea28edc38020e" providerId="LiveId" clId="{E3451E24-C82D-4BEC-AD4B-9EDC47044983}" dt="2024-01-29T20:02:27.800" v="432" actId="47"/>
        <pc:sldMkLst>
          <pc:docMk/>
          <pc:sldMk cId="1984624852" sldId="2147374974"/>
        </pc:sldMkLst>
        <pc:spChg chg="mod">
          <ac:chgData name="andres rendo sanchez" userId="1d3ea28edc38020e" providerId="LiveId" clId="{E3451E24-C82D-4BEC-AD4B-9EDC47044983}" dt="2024-01-29T20:00:04.128" v="78" actId="20577"/>
          <ac:spMkLst>
            <pc:docMk/>
            <pc:sldMk cId="1984624852" sldId="2147374974"/>
            <ac:spMk id="2" creationId="{E7E2CDBD-155E-DE88-033A-0D421CC18B8B}"/>
          </ac:spMkLst>
        </pc:spChg>
        <pc:spChg chg="mod">
          <ac:chgData name="andres rendo sanchez" userId="1d3ea28edc38020e" providerId="LiveId" clId="{E3451E24-C82D-4BEC-AD4B-9EDC47044983}" dt="2024-01-29T20:01:11.127" v="322" actId="20577"/>
          <ac:spMkLst>
            <pc:docMk/>
            <pc:sldMk cId="1984624852" sldId="2147374974"/>
            <ac:spMk id="6" creationId="{75CB392C-8248-11A8-B669-B974704800FE}"/>
          </ac:spMkLst>
        </pc:spChg>
        <pc:spChg chg="mod">
          <ac:chgData name="andres rendo sanchez" userId="1d3ea28edc38020e" providerId="LiveId" clId="{E3451E24-C82D-4BEC-AD4B-9EDC47044983}" dt="2024-01-29T19:59:45.239" v="40" actId="20577"/>
          <ac:spMkLst>
            <pc:docMk/>
            <pc:sldMk cId="1984624852" sldId="2147374974"/>
            <ac:spMk id="7" creationId="{AF4D0326-A6E3-0018-1BA3-80260ADEA498}"/>
          </ac:spMkLst>
        </pc:spChg>
        <pc:spChg chg="mod">
          <ac:chgData name="andres rendo sanchez" userId="1d3ea28edc38020e" providerId="LiveId" clId="{E3451E24-C82D-4BEC-AD4B-9EDC47044983}" dt="2024-01-29T20:01:39.299" v="427" actId="20577"/>
          <ac:spMkLst>
            <pc:docMk/>
            <pc:sldMk cId="1984624852" sldId="2147374974"/>
            <ac:spMk id="9" creationId="{D67D2B2A-1D7B-7351-1620-653086BBC8BB}"/>
          </ac:spMkLst>
        </pc:spChg>
      </pc:sldChg>
      <pc:sldChg chg="add del">
        <pc:chgData name="andres rendo sanchez" userId="1d3ea28edc38020e" providerId="LiveId" clId="{E3451E24-C82D-4BEC-AD4B-9EDC47044983}" dt="2024-01-29T19:56:28.015" v="2" actId="47"/>
        <pc:sldMkLst>
          <pc:docMk/>
          <pc:sldMk cId="152008649" sldId="2147374975"/>
        </pc:sldMkLst>
      </pc:sldChg>
      <pc:sldChg chg="new del">
        <pc:chgData name="andres rendo sanchez" userId="1d3ea28edc38020e" providerId="LiveId" clId="{E3451E24-C82D-4BEC-AD4B-9EDC47044983}" dt="2024-01-29T19:58:50.324" v="4" actId="680"/>
        <pc:sldMkLst>
          <pc:docMk/>
          <pc:sldMk cId="488233736" sldId="2147374975"/>
        </pc:sldMkLst>
      </pc:sldChg>
      <pc:sldChg chg="addSp delSp modSp new mod setBg modClrScheme chgLayout">
        <pc:chgData name="andres rendo sanchez" userId="1d3ea28edc38020e" providerId="LiveId" clId="{E3451E24-C82D-4BEC-AD4B-9EDC47044983}" dt="2024-01-29T20:02:50.771" v="434" actId="26606"/>
        <pc:sldMkLst>
          <pc:docMk/>
          <pc:sldMk cId="3249532496" sldId="2147374975"/>
        </pc:sldMkLst>
        <pc:spChg chg="del mod">
          <ac:chgData name="andres rendo sanchez" userId="1d3ea28edc38020e" providerId="LiveId" clId="{E3451E24-C82D-4BEC-AD4B-9EDC47044983}" dt="2024-01-29T19:59:07.609" v="9" actId="21"/>
          <ac:spMkLst>
            <pc:docMk/>
            <pc:sldMk cId="3249532496" sldId="2147374975"/>
            <ac:spMk id="2" creationId="{E17BD3F5-B93C-201B-B64A-177ECE55BFF5}"/>
          </ac:spMkLst>
        </pc:spChg>
        <pc:spChg chg="del">
          <ac:chgData name="andres rendo sanchez" userId="1d3ea28edc38020e" providerId="LiveId" clId="{E3451E24-C82D-4BEC-AD4B-9EDC47044983}" dt="2024-01-29T19:58:57.740" v="6" actId="21"/>
          <ac:spMkLst>
            <pc:docMk/>
            <pc:sldMk cId="3249532496" sldId="2147374975"/>
            <ac:spMk id="3" creationId="{74843E1E-3779-93F0-B6C2-20D3FE597A8B}"/>
          </ac:spMkLst>
        </pc:spChg>
        <pc:spChg chg="del">
          <ac:chgData name="andres rendo sanchez" userId="1d3ea28edc38020e" providerId="LiveId" clId="{E3451E24-C82D-4BEC-AD4B-9EDC47044983}" dt="2024-01-29T19:58:59.982" v="7" actId="21"/>
          <ac:spMkLst>
            <pc:docMk/>
            <pc:sldMk cId="3249532496" sldId="2147374975"/>
            <ac:spMk id="4" creationId="{536FD45A-AA6B-79D4-F825-8AB735030E58}"/>
          </ac:spMkLst>
        </pc:spChg>
        <pc:spChg chg="mod ord">
          <ac:chgData name="andres rendo sanchez" userId="1d3ea28edc38020e" providerId="LiveId" clId="{E3451E24-C82D-4BEC-AD4B-9EDC47044983}" dt="2024-01-29T20:02:50.771" v="434" actId="26606"/>
          <ac:spMkLst>
            <pc:docMk/>
            <pc:sldMk cId="3249532496" sldId="2147374975"/>
            <ac:spMk id="5" creationId="{A22EFF55-0B71-FAA2-9F0C-69F95CD051F9}"/>
          </ac:spMkLst>
        </pc:spChg>
        <pc:spChg chg="add">
          <ac:chgData name="andres rendo sanchez" userId="1d3ea28edc38020e" providerId="LiveId" clId="{E3451E24-C82D-4BEC-AD4B-9EDC47044983}" dt="2024-01-29T20:02:50.771" v="434" actId="26606"/>
          <ac:spMkLst>
            <pc:docMk/>
            <pc:sldMk cId="3249532496" sldId="2147374975"/>
            <ac:spMk id="12" creationId="{3DAD86CA-8235-409B-982B-5E7A033E2392}"/>
          </ac:spMkLst>
        </pc:spChg>
        <pc:spChg chg="add">
          <ac:chgData name="andres rendo sanchez" userId="1d3ea28edc38020e" providerId="LiveId" clId="{E3451E24-C82D-4BEC-AD4B-9EDC47044983}" dt="2024-01-29T20:02:50.771" v="434" actId="26606"/>
          <ac:spMkLst>
            <pc:docMk/>
            <pc:sldMk cId="3249532496" sldId="2147374975"/>
            <ac:spMk id="14" creationId="{9F234FBA-3501-47B4-AE0C-AA4AFBC8F603}"/>
          </ac:spMkLst>
        </pc:spChg>
        <pc:spChg chg="add">
          <ac:chgData name="andres rendo sanchez" userId="1d3ea28edc38020e" providerId="LiveId" clId="{E3451E24-C82D-4BEC-AD4B-9EDC47044983}" dt="2024-01-29T20:02:50.771" v="434" actId="26606"/>
          <ac:spMkLst>
            <pc:docMk/>
            <pc:sldMk cId="3249532496" sldId="2147374975"/>
            <ac:spMk id="16" creationId="{B5EF893B-0491-416E-9D33-BADE9600792A}"/>
          </ac:spMkLst>
        </pc:spChg>
        <pc:picChg chg="add mod">
          <ac:chgData name="andres rendo sanchez" userId="1d3ea28edc38020e" providerId="LiveId" clId="{E3451E24-C82D-4BEC-AD4B-9EDC47044983}" dt="2024-01-29T20:02:50.771" v="434" actId="26606"/>
          <ac:picMkLst>
            <pc:docMk/>
            <pc:sldMk cId="3249532496" sldId="2147374975"/>
            <ac:picMk id="7" creationId="{A90F0350-0B79-4754-2282-85D64A19807D}"/>
          </ac:picMkLst>
        </pc:picChg>
        <pc:cxnChg chg="add">
          <ac:chgData name="andres rendo sanchez" userId="1d3ea28edc38020e" providerId="LiveId" clId="{E3451E24-C82D-4BEC-AD4B-9EDC47044983}" dt="2024-01-29T20:02:50.771" v="434" actId="26606"/>
          <ac:cxnSpMkLst>
            <pc:docMk/>
            <pc:sldMk cId="3249532496" sldId="2147374975"/>
            <ac:cxnSpMk id="18" creationId="{469F4FF8-F8B0-4630-BA1B-0D8B324CD5FF}"/>
          </ac:cxnSpMkLst>
        </pc:cxnChg>
      </pc:sldChg>
      <pc:sldChg chg="del">
        <pc:chgData name="andres rendo sanchez" userId="1d3ea28edc38020e" providerId="LiveId" clId="{E3451E24-C82D-4BEC-AD4B-9EDC47044983}" dt="2024-01-29T19:56:06.832" v="0" actId="47"/>
        <pc:sldMkLst>
          <pc:docMk/>
          <pc:sldMk cId="3259066768" sldId="2147374976"/>
        </pc:sldMkLst>
      </pc:sldChg>
      <pc:sldChg chg="del">
        <pc:chgData name="andres rendo sanchez" userId="1d3ea28edc38020e" providerId="LiveId" clId="{E3451E24-C82D-4BEC-AD4B-9EDC47044983}" dt="2024-01-29T19:56:06.832" v="0" actId="47"/>
        <pc:sldMkLst>
          <pc:docMk/>
          <pc:sldMk cId="3536176071" sldId="2147374979"/>
        </pc:sldMkLst>
      </pc:sldChg>
      <pc:sldChg chg="del">
        <pc:chgData name="andres rendo sanchez" userId="1d3ea28edc38020e" providerId="LiveId" clId="{E3451E24-C82D-4BEC-AD4B-9EDC47044983}" dt="2024-01-29T19:56:06.832" v="0" actId="47"/>
        <pc:sldMkLst>
          <pc:docMk/>
          <pc:sldMk cId="959985530" sldId="2147470022"/>
        </pc:sldMkLst>
      </pc:sldChg>
      <pc:sldChg chg="del">
        <pc:chgData name="andres rendo sanchez" userId="1d3ea28edc38020e" providerId="LiveId" clId="{E3451E24-C82D-4BEC-AD4B-9EDC47044983}" dt="2024-01-29T19:56:06.832" v="0" actId="47"/>
        <pc:sldMkLst>
          <pc:docMk/>
          <pc:sldMk cId="4075059146" sldId="2147470023"/>
        </pc:sldMkLst>
      </pc:sldChg>
      <pc:sldChg chg="del">
        <pc:chgData name="andres rendo sanchez" userId="1d3ea28edc38020e" providerId="LiveId" clId="{E3451E24-C82D-4BEC-AD4B-9EDC47044983}" dt="2024-01-29T19:56:06.832" v="0" actId="47"/>
        <pc:sldMkLst>
          <pc:docMk/>
          <pc:sldMk cId="3702928609" sldId="2147470024"/>
        </pc:sldMkLst>
      </pc:sldChg>
      <pc:sldMasterChg chg="delSldLayout">
        <pc:chgData name="andres rendo sanchez" userId="1d3ea28edc38020e" providerId="LiveId" clId="{E3451E24-C82D-4BEC-AD4B-9EDC47044983}" dt="2024-01-29T19:56:06.832" v="0" actId="47"/>
        <pc:sldMasterMkLst>
          <pc:docMk/>
          <pc:sldMasterMk cId="2297655463" sldId="2147483648"/>
        </pc:sldMasterMkLst>
        <pc:sldLayoutChg chg="del">
          <pc:chgData name="andres rendo sanchez" userId="1d3ea28edc38020e" providerId="LiveId" clId="{E3451E24-C82D-4BEC-AD4B-9EDC47044983}" dt="2024-01-29T19:56:06.832" v="0" actId="47"/>
          <pc:sldLayoutMkLst>
            <pc:docMk/>
            <pc:sldMasterMk cId="2297655463" sldId="2147483648"/>
            <pc:sldLayoutMk cId="2637066666" sldId="2147483666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B181AE3D-E2F3-439F-A648-50A1ACE28F4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160520" cy="367454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s-MX" dirty="0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983C53D8-701F-4D89-B9B4-CA5094752EB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439014" y="0"/>
            <a:ext cx="4160520" cy="367454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79F85529-239C-4508-A50C-2A867F786A3D}" type="datetimeFigureOut">
              <a:rPr lang="es-MX" smtClean="0"/>
              <a:t>29/01/2024</a:t>
            </a:fld>
            <a:endParaRPr lang="es-MX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EE6CBE59-45CB-4D3D-9B26-F0698E55C28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947748"/>
            <a:ext cx="4160520" cy="367453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s-MX" dirty="0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1FA86E8C-146D-491D-9866-9C2246A014D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439014" y="6947748"/>
            <a:ext cx="4160520" cy="367453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CA1A30E4-0CF8-4439-BC68-EA356D19D54D}" type="slidenum">
              <a:rPr lang="es-MX" smtClean="0"/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381948866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4160520" cy="36703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s-MX" dirty="0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5438458" y="1"/>
            <a:ext cx="4160520" cy="36703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7F7E01D3-EE45-429E-8EE3-198B6F783B62}" type="datetimeFigureOut">
              <a:rPr lang="es-MX" smtClean="0"/>
              <a:t>29/01/2024</a:t>
            </a:fld>
            <a:endParaRPr lang="es-MX" dirty="0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2606675" y="914400"/>
            <a:ext cx="4387850" cy="24685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es-MX" dirty="0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960120" y="3520439"/>
            <a:ext cx="7680960" cy="2880361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6948171"/>
            <a:ext cx="4160520" cy="367029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s-MX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8089200" y="6547200"/>
            <a:ext cx="1512000" cy="76800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ctr">
              <a:defRPr sz="15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C3937161-051E-4C87-8F8A-A3161C5B21A1}" type="slidenum">
              <a:rPr lang="es-MX" smtClean="0"/>
              <a:pPr/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413153731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DF5DB0-4BD4-4FC3-9C14-888E64AD4E0F}" type="datetime1">
              <a:rPr lang="es-MX" smtClean="0"/>
              <a:t>29/01/2024</a:t>
            </a:fld>
            <a:endParaRPr lang="es-MX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FADA18-3E60-4CB7-92DE-40F19C1DE7DE}" type="slidenum">
              <a:rPr lang="es-MX" smtClean="0"/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1477217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C3E348-6B66-41E0-A472-ADE2C9A4F739}" type="datetime1">
              <a:rPr lang="es-MX" smtClean="0"/>
              <a:t>29/01/2024</a:t>
            </a:fld>
            <a:endParaRPr lang="es-MX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FADA18-3E60-4CB7-92DE-40F19C1DE7DE}" type="slidenum">
              <a:rPr lang="es-MX" smtClean="0"/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15160618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6DC41C-4257-4F3D-B294-8617830FE5D7}" type="datetime1">
              <a:rPr lang="es-MX" smtClean="0"/>
              <a:t>29/01/2024</a:t>
            </a:fld>
            <a:endParaRPr lang="es-MX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FADA18-3E60-4CB7-92DE-40F19C1DE7DE}" type="slidenum">
              <a:rPr lang="es-MX" smtClean="0"/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16680548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- 1 column + key sent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14584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Straight Connector 393"/>
          <p:cNvCxnSpPr/>
          <p:nvPr userDrawn="1"/>
        </p:nvCxnSpPr>
        <p:spPr>
          <a:xfrm>
            <a:off x="300000" y="944157"/>
            <a:ext cx="11592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Espaço Reservado para Texto 2">
            <a:extLst>
              <a:ext uri="{FF2B5EF4-FFF2-40B4-BE49-F238E27FC236}">
                <a16:creationId xmlns:a16="http://schemas.microsoft.com/office/drawing/2014/main" id="{CBA7D27C-BCE1-2A48-99D3-9AC25118A3A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266663" y="158591"/>
            <a:ext cx="11001796" cy="388485"/>
          </a:xfrm>
          <a:prstGeom prst="rect">
            <a:avLst/>
          </a:prstGeom>
        </p:spPr>
        <p:txBody>
          <a:bodyPr tIns="8280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None/>
              <a:defRPr lang="en-US" sz="2400" b="1" kern="1200" spc="300" noProof="0" dirty="0">
                <a:solidFill>
                  <a:srgbClr val="000000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MX" noProof="0"/>
              <a:t>TITLE (FONT 24)</a:t>
            </a:r>
          </a:p>
        </p:txBody>
      </p:sp>
      <p:sp>
        <p:nvSpPr>
          <p:cNvPr id="16" name="Espaço Reservado para Texto 2">
            <a:extLst>
              <a:ext uri="{FF2B5EF4-FFF2-40B4-BE49-F238E27FC236}">
                <a16:creationId xmlns:a16="http://schemas.microsoft.com/office/drawing/2014/main" id="{D5276FDB-D5EA-7940-B1F0-A155F73136E9}"/>
              </a:ext>
            </a:extLst>
          </p:cNvPr>
          <p:cNvSpPr>
            <a:spLocks noGrp="1"/>
          </p:cNvSpPr>
          <p:nvPr>
            <p:ph type="body" idx="32" hasCustomPrompt="1"/>
          </p:nvPr>
        </p:nvSpPr>
        <p:spPr>
          <a:xfrm>
            <a:off x="266663" y="998847"/>
            <a:ext cx="11658675" cy="47775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 algn="just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90488" algn="l"/>
              </a:tabLst>
              <a:defRPr lang="en-US" sz="1400" b="1" kern="1200" noProof="0" dirty="0">
                <a:solidFill>
                  <a:srgbClr val="000000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MX" noProof="0" err="1"/>
              <a:t>Subtitle</a:t>
            </a:r>
            <a:r>
              <a:rPr lang="es-MX" noProof="0"/>
              <a:t> </a:t>
            </a:r>
            <a:r>
              <a:rPr lang="es-MX" noProof="0" err="1"/>
              <a:t>or</a:t>
            </a:r>
            <a:r>
              <a:rPr lang="es-MX" noProof="0"/>
              <a:t> short </a:t>
            </a:r>
            <a:r>
              <a:rPr lang="es-MX" noProof="0" err="1"/>
              <a:t>description</a:t>
            </a:r>
            <a:r>
              <a:rPr lang="es-MX" noProof="0"/>
              <a:t> (</a:t>
            </a:r>
            <a:r>
              <a:rPr lang="es-MX" noProof="0" err="1"/>
              <a:t>optional</a:t>
            </a:r>
            <a:r>
              <a:rPr lang="es-MX" noProof="0"/>
              <a:t>), up to 2 </a:t>
            </a:r>
            <a:r>
              <a:rPr lang="es-MX" noProof="0" err="1"/>
              <a:t>lines</a:t>
            </a:r>
            <a:r>
              <a:rPr lang="es-MX" noProof="0"/>
              <a:t> (</a:t>
            </a:r>
            <a:r>
              <a:rPr lang="es-MX" noProof="0" err="1"/>
              <a:t>font</a:t>
            </a:r>
            <a:r>
              <a:rPr lang="es-MX" noProof="0"/>
              <a:t> 24)</a:t>
            </a:r>
          </a:p>
        </p:txBody>
      </p:sp>
      <p:sp>
        <p:nvSpPr>
          <p:cNvPr id="18" name="Espaço Reservado para Texto 2">
            <a:extLst>
              <a:ext uri="{FF2B5EF4-FFF2-40B4-BE49-F238E27FC236}">
                <a16:creationId xmlns:a16="http://schemas.microsoft.com/office/drawing/2014/main" id="{CBA7D27C-BCE1-2A48-99D3-9AC25118A3AB}"/>
              </a:ext>
            </a:extLst>
          </p:cNvPr>
          <p:cNvSpPr>
            <a:spLocks noGrp="1"/>
          </p:cNvSpPr>
          <p:nvPr>
            <p:ph type="body" idx="33" hasCustomPrompt="1"/>
          </p:nvPr>
        </p:nvSpPr>
        <p:spPr>
          <a:xfrm>
            <a:off x="266663" y="601765"/>
            <a:ext cx="11001796" cy="287703"/>
          </a:xfrm>
          <a:prstGeom prst="rect">
            <a:avLst/>
          </a:prstGeom>
        </p:spPr>
        <p:txBody>
          <a:bodyPr tIns="3600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None/>
              <a:defRPr lang="en-US" sz="1200" b="1" kern="1200" spc="0" noProof="0" dirty="0" smtClean="0">
                <a:solidFill>
                  <a:srgbClr val="000000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MX" noProof="0"/>
              <a:t>TITLE (FONT 12)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DADE94-05F9-408F-82FD-39A85CED4F04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402E1BD8-3003-4BE8-AF89-62D961954387}" type="slidenum">
              <a:rPr lang="en-US" smtClean="0"/>
              <a:t>‹Nº›</a:t>
            </a:fld>
            <a:endParaRPr lang="en-US" dirty="0"/>
          </a:p>
        </p:txBody>
      </p:sp>
      <p:pic>
        <p:nvPicPr>
          <p:cNvPr id="8" name="Picture 115" descr="El Palacio de Hierro (@palaciohierro) | Twitter">
            <a:extLst>
              <a:ext uri="{FF2B5EF4-FFF2-40B4-BE49-F238E27FC236}">
                <a16:creationId xmlns:a16="http://schemas.microsoft.com/office/drawing/2014/main" id="{66927548-4D43-418E-BAE0-5BA83964360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17791" y="-8482"/>
            <a:ext cx="722630" cy="7226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upo 7">
            <a:extLst>
              <a:ext uri="{FF2B5EF4-FFF2-40B4-BE49-F238E27FC236}">
                <a16:creationId xmlns:a16="http://schemas.microsoft.com/office/drawing/2014/main" id="{5B77C778-8892-450B-A489-2862C95192F3}"/>
              </a:ext>
            </a:extLst>
          </p:cNvPr>
          <p:cNvGrpSpPr/>
          <p:nvPr userDrawn="1"/>
        </p:nvGrpSpPr>
        <p:grpSpPr>
          <a:xfrm>
            <a:off x="12453732" y="749045"/>
            <a:ext cx="670805" cy="5761613"/>
            <a:chOff x="-714484" y="1045649"/>
            <a:chExt cx="606828" cy="5761613"/>
          </a:xfrm>
        </p:grpSpPr>
        <p:sp>
          <p:nvSpPr>
            <p:cNvPr id="10" name="Rectangle 21">
              <a:extLst>
                <a:ext uri="{FF2B5EF4-FFF2-40B4-BE49-F238E27FC236}">
                  <a16:creationId xmlns:a16="http://schemas.microsoft.com/office/drawing/2014/main" id="{C9BF4D11-A60A-4FCD-ABD6-04B11F63AC08}"/>
                </a:ext>
              </a:extLst>
            </p:cNvPr>
            <p:cNvSpPr/>
            <p:nvPr/>
          </p:nvSpPr>
          <p:spPr bwMode="gray">
            <a:xfrm>
              <a:off x="-714484" y="2063133"/>
              <a:ext cx="594142" cy="480294"/>
            </a:xfrm>
            <a:prstGeom prst="rect">
              <a:avLst/>
            </a:prstGeom>
            <a:solidFill>
              <a:srgbClr val="FFDC6D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buFont typeface="Wingdings 2" pitchFamily="18" charset="2"/>
                <a:buNone/>
              </a:pPr>
              <a:r>
                <a:rPr lang="es-MX" sz="1200" dirty="0">
                  <a:solidFill>
                    <a:srgbClr val="FFFFFF"/>
                  </a:solidFill>
                </a:rPr>
                <a:t>2</a:t>
              </a:r>
            </a:p>
          </p:txBody>
        </p:sp>
        <p:sp>
          <p:nvSpPr>
            <p:cNvPr id="11" name="Rectangle 24">
              <a:extLst>
                <a:ext uri="{FF2B5EF4-FFF2-40B4-BE49-F238E27FC236}">
                  <a16:creationId xmlns:a16="http://schemas.microsoft.com/office/drawing/2014/main" id="{F7441B31-31F1-4FC7-ACA3-FD34E80BA08A}"/>
                </a:ext>
              </a:extLst>
            </p:cNvPr>
            <p:cNvSpPr/>
            <p:nvPr/>
          </p:nvSpPr>
          <p:spPr bwMode="gray">
            <a:xfrm>
              <a:off x="-714484" y="2526410"/>
              <a:ext cx="594142" cy="480294"/>
            </a:xfrm>
            <a:prstGeom prst="rect">
              <a:avLst/>
            </a:prstGeom>
            <a:solidFill>
              <a:srgbClr val="FFCA2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buFont typeface="Wingdings 2" pitchFamily="18" charset="2"/>
                <a:buNone/>
              </a:pPr>
              <a:r>
                <a:rPr lang="es-MX" sz="1200" dirty="0">
                  <a:solidFill>
                    <a:srgbClr val="FFFFFF"/>
                  </a:solidFill>
                </a:rPr>
                <a:t>3</a:t>
              </a:r>
            </a:p>
          </p:txBody>
        </p:sp>
        <p:sp>
          <p:nvSpPr>
            <p:cNvPr id="12" name="Rectangle 27">
              <a:extLst>
                <a:ext uri="{FF2B5EF4-FFF2-40B4-BE49-F238E27FC236}">
                  <a16:creationId xmlns:a16="http://schemas.microsoft.com/office/drawing/2014/main" id="{F15ECA38-3A55-4441-810F-3713956BF0C9}"/>
                </a:ext>
              </a:extLst>
            </p:cNvPr>
            <p:cNvSpPr/>
            <p:nvPr/>
          </p:nvSpPr>
          <p:spPr bwMode="gray">
            <a:xfrm>
              <a:off x="-714484" y="3004788"/>
              <a:ext cx="594142" cy="480294"/>
            </a:xfrm>
            <a:prstGeom prst="rect">
              <a:avLst/>
            </a:prstGeom>
            <a:solidFill>
              <a:srgbClr val="EEB500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buFont typeface="Wingdings 2" pitchFamily="18" charset="2"/>
                <a:buNone/>
              </a:pPr>
              <a:r>
                <a:rPr lang="es-MX" sz="1200" dirty="0">
                  <a:solidFill>
                    <a:srgbClr val="FFFFFF"/>
                  </a:solidFill>
                </a:rPr>
                <a:t>4</a:t>
              </a:r>
            </a:p>
          </p:txBody>
        </p:sp>
        <p:sp>
          <p:nvSpPr>
            <p:cNvPr id="14" name="Rectangle 50">
              <a:extLst>
                <a:ext uri="{FF2B5EF4-FFF2-40B4-BE49-F238E27FC236}">
                  <a16:creationId xmlns:a16="http://schemas.microsoft.com/office/drawing/2014/main" id="{F94A24DD-4CD5-475A-A143-F168D12BF34A}"/>
                </a:ext>
              </a:extLst>
            </p:cNvPr>
            <p:cNvSpPr/>
            <p:nvPr/>
          </p:nvSpPr>
          <p:spPr bwMode="gray">
            <a:xfrm>
              <a:off x="-714484" y="1577265"/>
              <a:ext cx="594142" cy="480294"/>
            </a:xfrm>
            <a:prstGeom prst="rect">
              <a:avLst/>
            </a:prstGeom>
            <a:solidFill>
              <a:srgbClr val="FFE79B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buFont typeface="Wingdings 2" pitchFamily="18" charset="2"/>
                <a:buNone/>
              </a:pPr>
              <a:r>
                <a:rPr lang="es-MX" altLang="zh-CN" sz="1200" dirty="0">
                  <a:solidFill>
                    <a:srgbClr val="FFFFFF"/>
                  </a:solidFill>
                </a:rPr>
                <a:t>1</a:t>
              </a:r>
              <a:endParaRPr lang="es-MX" sz="1200" dirty="0">
                <a:solidFill>
                  <a:srgbClr val="FFFFFF"/>
                </a:solidFill>
              </a:endParaRPr>
            </a:p>
          </p:txBody>
        </p:sp>
        <p:sp>
          <p:nvSpPr>
            <p:cNvPr id="17" name="Rectangle 21">
              <a:extLst>
                <a:ext uri="{FF2B5EF4-FFF2-40B4-BE49-F238E27FC236}">
                  <a16:creationId xmlns:a16="http://schemas.microsoft.com/office/drawing/2014/main" id="{9BD19D27-BB58-4F30-BA55-4F516B07C44F}"/>
                </a:ext>
              </a:extLst>
            </p:cNvPr>
            <p:cNvSpPr/>
            <p:nvPr/>
          </p:nvSpPr>
          <p:spPr bwMode="gray">
            <a:xfrm>
              <a:off x="-714484" y="4437710"/>
              <a:ext cx="594142" cy="480294"/>
            </a:xfrm>
            <a:prstGeom prst="rect">
              <a:avLst/>
            </a:prstGeom>
            <a:solidFill>
              <a:srgbClr val="5B696B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buFont typeface="Wingdings 2" pitchFamily="18" charset="2"/>
                <a:buNone/>
              </a:pPr>
              <a:r>
                <a:rPr lang="es-MX" sz="1200" dirty="0">
                  <a:solidFill>
                    <a:srgbClr val="FFFFFF"/>
                  </a:solidFill>
                </a:rPr>
                <a:t>2</a:t>
              </a:r>
            </a:p>
          </p:txBody>
        </p:sp>
        <p:sp>
          <p:nvSpPr>
            <p:cNvPr id="19" name="Rectangle 24">
              <a:extLst>
                <a:ext uri="{FF2B5EF4-FFF2-40B4-BE49-F238E27FC236}">
                  <a16:creationId xmlns:a16="http://schemas.microsoft.com/office/drawing/2014/main" id="{0B185F5E-8E41-466F-87F7-49B6C1A32172}"/>
                </a:ext>
              </a:extLst>
            </p:cNvPr>
            <p:cNvSpPr/>
            <p:nvPr/>
          </p:nvSpPr>
          <p:spPr bwMode="gray">
            <a:xfrm>
              <a:off x="-714484" y="3953933"/>
              <a:ext cx="594142" cy="480294"/>
            </a:xfrm>
            <a:prstGeom prst="rect">
              <a:avLst/>
            </a:prstGeom>
            <a:solidFill>
              <a:srgbClr val="7F7F7F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buFont typeface="Wingdings 2" pitchFamily="18" charset="2"/>
                <a:buNone/>
              </a:pPr>
              <a:r>
                <a:rPr lang="es-MX" sz="1200" dirty="0">
                  <a:solidFill>
                    <a:srgbClr val="FFFFFF"/>
                  </a:solidFill>
                </a:rPr>
                <a:t>3</a:t>
              </a:r>
            </a:p>
          </p:txBody>
        </p:sp>
        <p:sp>
          <p:nvSpPr>
            <p:cNvPr id="20" name="Rectangle 27">
              <a:extLst>
                <a:ext uri="{FF2B5EF4-FFF2-40B4-BE49-F238E27FC236}">
                  <a16:creationId xmlns:a16="http://schemas.microsoft.com/office/drawing/2014/main" id="{9FB5177D-5431-4B68-9F36-C4B219A67C97}"/>
                </a:ext>
              </a:extLst>
            </p:cNvPr>
            <p:cNvSpPr/>
            <p:nvPr/>
          </p:nvSpPr>
          <p:spPr bwMode="gray">
            <a:xfrm>
              <a:off x="-714484" y="4921126"/>
              <a:ext cx="594142" cy="480294"/>
            </a:xfrm>
            <a:prstGeom prst="rect">
              <a:avLst/>
            </a:prstGeom>
            <a:solidFill>
              <a:srgbClr val="010104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buFont typeface="Wingdings 2" pitchFamily="18" charset="2"/>
                <a:buNone/>
              </a:pPr>
              <a:r>
                <a:rPr lang="es-MX" sz="1200" dirty="0">
                  <a:solidFill>
                    <a:srgbClr val="FFFFFF"/>
                  </a:solidFill>
                </a:rPr>
                <a:t>4</a:t>
              </a:r>
            </a:p>
          </p:txBody>
        </p:sp>
        <p:sp>
          <p:nvSpPr>
            <p:cNvPr id="21" name="Rectangle 50">
              <a:extLst>
                <a:ext uri="{FF2B5EF4-FFF2-40B4-BE49-F238E27FC236}">
                  <a16:creationId xmlns:a16="http://schemas.microsoft.com/office/drawing/2014/main" id="{4D89FF1B-FEB1-4AE4-83EE-BC99BBCA2449}"/>
                </a:ext>
              </a:extLst>
            </p:cNvPr>
            <p:cNvSpPr/>
            <p:nvPr/>
          </p:nvSpPr>
          <p:spPr bwMode="gray">
            <a:xfrm>
              <a:off x="-714484" y="3493603"/>
              <a:ext cx="594142" cy="480294"/>
            </a:xfrm>
            <a:prstGeom prst="rect">
              <a:avLst/>
            </a:prstGeom>
            <a:solidFill>
              <a:srgbClr val="A47D00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buFont typeface="Wingdings 2" pitchFamily="18" charset="2"/>
                <a:buNone/>
              </a:pPr>
              <a:r>
                <a:rPr lang="es-MX" altLang="zh-CN" sz="1200" dirty="0">
                  <a:solidFill>
                    <a:srgbClr val="FFFFFF"/>
                  </a:solidFill>
                </a:rPr>
                <a:t>1</a:t>
              </a:r>
              <a:endParaRPr lang="es-MX" sz="1200" dirty="0">
                <a:solidFill>
                  <a:srgbClr val="FFFFFF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C1079057-3BEB-4548-8F84-27419E34707C}"/>
                </a:ext>
              </a:extLst>
            </p:cNvPr>
            <p:cNvSpPr/>
            <p:nvPr/>
          </p:nvSpPr>
          <p:spPr bwMode="gray">
            <a:xfrm>
              <a:off x="-714484" y="5385313"/>
              <a:ext cx="594142" cy="480294"/>
            </a:xfrm>
            <a:prstGeom prst="rect">
              <a:avLst/>
            </a:prstGeom>
            <a:solidFill>
              <a:srgbClr val="5B696B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buFont typeface="Wingdings 2" pitchFamily="18" charset="2"/>
                <a:buNone/>
              </a:pPr>
              <a:r>
                <a:rPr lang="es-MX" sz="1200" dirty="0">
                  <a:solidFill>
                    <a:srgbClr val="FFFFFF"/>
                  </a:solidFill>
                </a:rPr>
                <a:t>2</a:t>
              </a:r>
            </a:p>
          </p:txBody>
        </p:sp>
        <p:sp>
          <p:nvSpPr>
            <p:cNvPr id="23" name="Rectangle 24">
              <a:extLst>
                <a:ext uri="{FF2B5EF4-FFF2-40B4-BE49-F238E27FC236}">
                  <a16:creationId xmlns:a16="http://schemas.microsoft.com/office/drawing/2014/main" id="{B5556BDC-C44C-49FC-B408-FA997712C915}"/>
                </a:ext>
              </a:extLst>
            </p:cNvPr>
            <p:cNvSpPr/>
            <p:nvPr/>
          </p:nvSpPr>
          <p:spPr bwMode="gray">
            <a:xfrm>
              <a:off x="-714484" y="5848590"/>
              <a:ext cx="594142" cy="480294"/>
            </a:xfrm>
            <a:prstGeom prst="rect">
              <a:avLst/>
            </a:prstGeom>
            <a:solidFill>
              <a:srgbClr val="7F7F7F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buFont typeface="Wingdings 2" pitchFamily="18" charset="2"/>
                <a:buNone/>
              </a:pPr>
              <a:r>
                <a:rPr lang="es-MX" sz="1200" dirty="0">
                  <a:solidFill>
                    <a:srgbClr val="FFFFFF"/>
                  </a:solidFill>
                </a:rPr>
                <a:t>3</a:t>
              </a:r>
            </a:p>
          </p:txBody>
        </p:sp>
        <p:sp>
          <p:nvSpPr>
            <p:cNvPr id="24" name="Rectangle 27">
              <a:extLst>
                <a:ext uri="{FF2B5EF4-FFF2-40B4-BE49-F238E27FC236}">
                  <a16:creationId xmlns:a16="http://schemas.microsoft.com/office/drawing/2014/main" id="{1DD5BA13-8E5F-4A86-BC04-93CED10C17B9}"/>
                </a:ext>
              </a:extLst>
            </p:cNvPr>
            <p:cNvSpPr/>
            <p:nvPr/>
          </p:nvSpPr>
          <p:spPr bwMode="gray">
            <a:xfrm>
              <a:off x="-714484" y="6326968"/>
              <a:ext cx="594142" cy="480294"/>
            </a:xfrm>
            <a:prstGeom prst="rect">
              <a:avLst/>
            </a:prstGeom>
            <a:solidFill>
              <a:srgbClr val="00CC99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buFont typeface="Wingdings 2" pitchFamily="18" charset="2"/>
                <a:buNone/>
              </a:pPr>
              <a:r>
                <a:rPr lang="es-MX" sz="1200" dirty="0">
                  <a:solidFill>
                    <a:srgbClr val="FFFFFF"/>
                  </a:solidFill>
                </a:rPr>
                <a:t>4</a:t>
              </a:r>
            </a:p>
          </p:txBody>
        </p:sp>
        <p:sp>
          <p:nvSpPr>
            <p:cNvPr id="25" name="Rectangle 25">
              <a:hlinkClick r:id="" action="ppaction://noaction"/>
              <a:extLst>
                <a:ext uri="{FF2B5EF4-FFF2-40B4-BE49-F238E27FC236}">
                  <a16:creationId xmlns:a16="http://schemas.microsoft.com/office/drawing/2014/main" id="{F3132994-ADDA-41BA-8A14-E97DEB667B22}"/>
                </a:ext>
              </a:extLst>
            </p:cNvPr>
            <p:cNvSpPr/>
            <p:nvPr/>
          </p:nvSpPr>
          <p:spPr>
            <a:xfrm>
              <a:off x="-714484" y="1045649"/>
              <a:ext cx="606828" cy="520661"/>
            </a:xfrm>
            <a:prstGeom prst="roundRect">
              <a:avLst>
                <a:gd name="adj" fmla="val 7229"/>
              </a:avLst>
            </a:prstGeom>
            <a:solidFill>
              <a:srgbClr val="FFCA08">
                <a:lumMod val="20000"/>
                <a:lumOff val="8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s-MX" sz="1200" kern="0" dirty="0">
                <a:solidFill>
                  <a:prstClr val="black">
                    <a:lumMod val="50000"/>
                  </a:prst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47652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189">
          <p15:clr>
            <a:srgbClr val="FBAE40"/>
          </p15:clr>
        </p15:guide>
        <p15:guide id="3" pos="3840">
          <p15:clr>
            <a:srgbClr val="FBAE40"/>
          </p15:clr>
        </p15:guide>
        <p15:guide id="4" pos="749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0FF33-6F33-4AC4-B6A5-4F422A5ABB22}" type="datetime1">
              <a:rPr lang="es-MX" smtClean="0"/>
              <a:t>29/01/2024</a:t>
            </a:fld>
            <a:endParaRPr lang="es-MX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FADA18-3E60-4CB7-92DE-40F19C1DE7DE}" type="slidenum">
              <a:rPr lang="es-MX" smtClean="0"/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36597954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EB3C2D-74EF-443F-88F8-E93482FFD1C3}" type="datetime1">
              <a:rPr lang="es-MX" smtClean="0"/>
              <a:t>29/01/2024</a:t>
            </a:fld>
            <a:endParaRPr lang="es-MX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FADA18-3E60-4CB7-92DE-40F19C1DE7DE}" type="slidenum">
              <a:rPr lang="es-MX" smtClean="0"/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8945669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D9E2F6-9F4F-40E9-B9A5-CCAB09FF2F3B}" type="datetime1">
              <a:rPr lang="es-MX" smtClean="0"/>
              <a:t>29/01/2024</a:t>
            </a:fld>
            <a:endParaRPr lang="es-MX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FADA18-3E60-4CB7-92DE-40F19C1DE7DE}" type="slidenum">
              <a:rPr lang="es-MX" smtClean="0"/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36974172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F88266-A9B9-4850-BD13-5135DFC44F5E}" type="datetime1">
              <a:rPr lang="es-MX" smtClean="0"/>
              <a:t>29/01/2024</a:t>
            </a:fld>
            <a:endParaRPr lang="es-MX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FADA18-3E60-4CB7-92DE-40F19C1DE7DE}" type="slidenum">
              <a:rPr lang="es-MX" smtClean="0"/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31193663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E4CEDD-8674-4763-B5EF-C07B08CA662B}" type="datetime1">
              <a:rPr lang="es-MX" smtClean="0"/>
              <a:t>29/01/2024</a:t>
            </a:fld>
            <a:endParaRPr lang="es-MX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FADA18-3E60-4CB7-92DE-40F19C1DE7DE}" type="slidenum">
              <a:rPr lang="es-MX" smtClean="0"/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33589144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08C345-6180-4970-A34E-D14753929568}" type="datetime1">
              <a:rPr lang="es-MX" smtClean="0"/>
              <a:t>29/01/2024</a:t>
            </a:fld>
            <a:endParaRPr lang="es-MX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FADA18-3E60-4CB7-92DE-40F19C1DE7DE}" type="slidenum">
              <a:rPr lang="es-MX" smtClean="0"/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38121520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0605A7-DEA3-4E9C-91E9-4B901539C431}" type="datetime1">
              <a:rPr lang="es-MX" smtClean="0"/>
              <a:t>29/01/2024</a:t>
            </a:fld>
            <a:endParaRPr lang="es-MX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FADA18-3E60-4CB7-92DE-40F19C1DE7DE}" type="slidenum">
              <a:rPr lang="es-MX" smtClean="0"/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34069946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s-ES"/>
              <a:t>Haga clic en el icono para agregar una ima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FE3FF2-C317-4ECC-8C57-1C85EF925154}" type="datetime1">
              <a:rPr lang="es-MX" smtClean="0"/>
              <a:t>29/01/2024</a:t>
            </a:fld>
            <a:endParaRPr lang="es-MX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FADA18-3E60-4CB7-92DE-40F19C1DE7DE}" type="slidenum">
              <a:rPr lang="es-MX" smtClean="0"/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32539295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46EFB1-8BB3-4738-995A-C51D2E8FB3F5}" type="datetime1">
              <a:rPr lang="es-MX" smtClean="0"/>
              <a:t>29/01/2024</a:t>
            </a:fld>
            <a:endParaRPr lang="es-MX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MX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3FADA18-3E60-4CB7-92DE-40F19C1DE7DE}" type="slidenum">
              <a:rPr lang="es-MX" smtClean="0"/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24813153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2" name="Rectangle 11">
            <a:extLst>
              <a:ext uri="{FF2B5EF4-FFF2-40B4-BE49-F238E27FC236}">
                <a16:creationId xmlns:a16="http://schemas.microsoft.com/office/drawing/2014/main" id="{3DAD86CA-8235-409B-982B-5E7A033E23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F234FBA-3501-47B4-AE0C-AA4AFBC8F6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12192000" cy="518714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5EF893B-0491-416E-9D33-BADE960079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96464" y="551961"/>
            <a:ext cx="10999072" cy="539995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Imagen 6" descr="Interfaz de usuario gráfica, Texto, Aplicación, Correo electrónico&#10;&#10;Descripción generada automáticamente">
            <a:extLst>
              <a:ext uri="{FF2B5EF4-FFF2-40B4-BE49-F238E27FC236}">
                <a16:creationId xmlns:a16="http://schemas.microsoft.com/office/drawing/2014/main" id="{A90F0350-0B79-4754-2282-85D64A19807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5918"/>
          <a:stretch/>
        </p:blipFill>
        <p:spPr>
          <a:xfrm>
            <a:off x="838200" y="754148"/>
            <a:ext cx="10515600" cy="4995575"/>
          </a:xfrm>
          <a:prstGeom prst="rect">
            <a:avLst/>
          </a:prstGeom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69F4FF8-F8B0-4630-BA1B-0D8B324CD5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596464" y="6329769"/>
            <a:ext cx="11000232" cy="0"/>
          </a:xfrm>
          <a:prstGeom prst="line">
            <a:avLst/>
          </a:prstGeom>
          <a:ln w="152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A22EFF55-0B71-FAA2-9F0C-69F95CD051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49224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402E1BD8-3003-4BE8-AF89-62D961954387}" type="slidenum">
              <a:rPr lang="en-US" smtClean="0"/>
              <a:pPr>
                <a:spcAft>
                  <a:spcPts val="600"/>
                </a:spcAft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95324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Tema de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e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2013 - 2022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TotalTime>6163</TotalTime>
  <Words>1</Words>
  <Application>Microsoft Office PowerPoint</Application>
  <PresentationFormat>Panorámica</PresentationFormat>
  <Paragraphs>1</Paragraphs>
  <Slides>1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</vt:i4>
      </vt:variant>
    </vt:vector>
  </HeadingPairs>
  <TitlesOfParts>
    <vt:vector size="8" baseType="lpstr">
      <vt:lpstr>Arial</vt:lpstr>
      <vt:lpstr>Calibri</vt:lpstr>
      <vt:lpstr>Calibri Light</vt:lpstr>
      <vt:lpstr>Century Gothic</vt:lpstr>
      <vt:lpstr>Wingdings 2</vt:lpstr>
      <vt:lpstr>Tema de Office</vt:lpstr>
      <vt:lpstr>think-cell Slide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Maria Del Carmen Procuna Garcia</dc:creator>
  <cp:lastModifiedBy>andres rendo sanchez</cp:lastModifiedBy>
  <cp:revision>299</cp:revision>
  <cp:lastPrinted>2022-06-13T22:40:37Z</cp:lastPrinted>
  <dcterms:created xsi:type="dcterms:W3CDTF">2021-10-20T00:55:43Z</dcterms:created>
  <dcterms:modified xsi:type="dcterms:W3CDTF">2024-01-29T20:03:00Z</dcterms:modified>
</cp:coreProperties>
</file>